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1334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12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12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December 2018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721b41e6ba5fb60d7c1a049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8DE9D12-2DB4-49EB-BBC1-B5A726301E9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1287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FZZhunYuan-M02S" panose="03000509000000000000" pitchFamily="65" charset="-122"/>
                  <a:ea typeface="FZZhunYuan-M02S" panose="03000509000000000000" pitchFamily="65" charset="-122"/>
                </a:rPr>
                <a:t>价值和益处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FZZhunYuan-M02S" panose="03000509000000000000" pitchFamily="65" charset="-122"/>
                  <a:ea typeface="FZZhunYuan-M02S" panose="03000509000000000000" pitchFamily="65" charset="-122"/>
                  <a:cs typeface="Arial" charset="0"/>
                </a:rPr>
                <a:t>描述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确保</a:t>
            </a:r>
            <a:r>
              <a:rPr lang="zh-CN" dirty="0">
                <a:ea typeface="FZZhunYuan-M02S" panose="03000509000000000000" pitchFamily="65" charset="-122"/>
              </a:rPr>
              <a:t>7</a:t>
            </a:r>
            <a:r>
              <a:rPr lang="zh-CN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巴空气消耗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5"/>
            <a:ext cx="7997825" cy="307975"/>
          </a:xfrm>
        </p:spPr>
        <p:txBody>
          <a:bodyPr/>
          <a:lstStyle/>
          <a:p>
            <a:r>
              <a:rPr lang="zh-CN">
                <a:latin typeface="FZZhunYuan-M02S" panose="03000509000000000000" pitchFamily="65" charset="-122"/>
                <a:ea typeface="FZZhunYuan-M02S" panose="03000509000000000000" pitchFamily="65" charset="-122"/>
              </a:rPr>
              <a:t>空气泄漏检测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856541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价值：提高效率</a:t>
            </a:r>
            <a:r>
              <a:rPr kumimoji="0" lang="fr-FR" alt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,</a:t>
            </a:r>
            <a:r>
              <a:rPr lang="zh-CN" altLang="fr-FR" sz="800" noProof="1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优化成本</a:t>
            </a:r>
            <a:endParaRPr kumimoji="0" lang="zh-CN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设备：  </a:t>
            </a: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n-lt"/>
                <a:ea typeface="FZZhunYuan-M02S" panose="03000509000000000000" pitchFamily="65" charset="-122"/>
              </a:rPr>
              <a:t>Universal</a:t>
            </a: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吹瓶机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产品目录代码：</a:t>
            </a:r>
            <a:r>
              <a:rPr kumimoji="0" lang="zh-CN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n-lt"/>
                <a:ea typeface="FZZhunYuan-M02S" panose="03000509000000000000" pitchFamily="65" charset="-122"/>
              </a:rPr>
              <a:t>1109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27392"/>
            <a:ext cx="3823487" cy="11818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一个手提箱（含接头、配件、软管及多语言使用说明书）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双仪表漏气测量装置（</a:t>
            </a:r>
            <a:r>
              <a:rPr kumimoji="0" lang="zh-CN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ea typeface="FZZhunYuan-M02S" panose="03000509000000000000" pitchFamily="65" charset="-122"/>
              </a:rPr>
              <a:t>10/100</a:t>
            </a:r>
            <a:r>
              <a:rPr kumimoji="0" lang="zh-CN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升），可测量相应压力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sz="12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配有可充电电池，便于实际测量</a:t>
            </a: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7D3F4717-4C3B-460A-9886-77A76EB4A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413" y="2259382"/>
            <a:ext cx="3552431" cy="1915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zh-CN" sz="12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 可确定吹瓶机7巴压力空气循环回路的能耗损失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zh-CN" sz="12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FZZhunYuan-M02S" panose="03000509000000000000" pitchFamily="65" charset="-122"/>
                <a:ea typeface="FZZhunYuan-M02S" panose="03000509000000000000" pitchFamily="65" charset="-122"/>
              </a:rPr>
              <a:t> 无需插入设备内部，易于使用</a:t>
            </a:r>
          </a:p>
        </p:txBody>
      </p:sp>
      <p:pic>
        <p:nvPicPr>
          <p:cNvPr id="15" name="Picture 23">
            <a:extLst>
              <a:ext uri="{FF2B5EF4-FFF2-40B4-BE49-F238E27FC236}">
                <a16:creationId xmlns:a16="http://schemas.microsoft.com/office/drawing/2014/main" id="{867F4FEA-D9ED-4200-91F8-78F65B8CD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925" y="4099846"/>
            <a:ext cx="1619036" cy="152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4C0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633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90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ZZhunYuan-M02S</vt:lpstr>
      <vt:lpstr>宋体</vt:lpstr>
      <vt:lpstr>Arial</vt:lpstr>
      <vt:lpstr>Wingdings</vt:lpstr>
      <vt:lpstr>1_NewSidel_Template_4x3_with add layouts</vt:lpstr>
      <vt:lpstr>think-cell Folie</vt:lpstr>
      <vt:lpstr>确保7巴空气消耗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8</cp:revision>
  <dcterms:created xsi:type="dcterms:W3CDTF">2018-02-10T17:04:39Z</dcterms:created>
  <dcterms:modified xsi:type="dcterms:W3CDTF">2018-12-12T16:0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Ref">
    <vt:lpwstr>https://api.informationprotection.azure.com/api/2390cbd1-e663-4321-bc93-ba298637ce52</vt:lpwstr>
  </property>
  <property fmtid="{D5CDD505-2E9C-101B-9397-08002B2CF9AE}" pid="7" name="MSIP_Label_e35bb0a3-90cf-41a8-939e-500b35438edf_SetBy">
    <vt:lpwstr>107200@sidel.com</vt:lpwstr>
  </property>
  <property fmtid="{D5CDD505-2E9C-101B-9397-08002B2CF9AE}" pid="8" name="MSIP_Label_e35bb0a3-90cf-41a8-939e-500b35438edf_SetDate">
    <vt:lpwstr>2017-09-26T14:43:53.5499116+02:00</vt:lpwstr>
  </property>
  <property fmtid="{D5CDD505-2E9C-101B-9397-08002B2CF9AE}" pid="9" name="MSIP_Label_e35bb0a3-90cf-41a8-939e-500b35438edf_Name">
    <vt:lpwstr>Sidel-Confidential</vt:lpwstr>
  </property>
  <property fmtid="{D5CDD505-2E9C-101B-9397-08002B2CF9AE}" pid="10" name="MSIP_Label_e35bb0a3-90cf-41a8-939e-500b35438edf_Application">
    <vt:lpwstr>Microsoft Azure Information Protection</vt:lpwstr>
  </property>
  <property fmtid="{D5CDD505-2E9C-101B-9397-08002B2CF9AE}" pid="11" name="MSIP_Label_e35bb0a3-90cf-41a8-939e-500b35438edf_Extended_MSFT_Method">
    <vt:lpwstr>Automatic</vt:lpwstr>
  </property>
  <property fmtid="{D5CDD505-2E9C-101B-9397-08002B2CF9AE}" pid="12" name="MSIP_Label_06263584-a2fa-494a-b6ac-a3eeadb86bd0_Enabled">
    <vt:lpwstr>True</vt:lpwstr>
  </property>
  <property fmtid="{D5CDD505-2E9C-101B-9397-08002B2CF9AE}" pid="13" name="MSIP_Label_06263584-a2fa-494a-b6ac-a3eeadb86bd0_SiteId">
    <vt:lpwstr>2390cbd1-e663-4321-bc93-ba298637ce52</vt:lpwstr>
  </property>
  <property fmtid="{D5CDD505-2E9C-101B-9397-08002B2CF9AE}" pid="14" name="MSIP_Label_06263584-a2fa-494a-b6ac-a3eeadb86bd0_Ref">
    <vt:lpwstr>https://api.informationprotection.azure.com/api/2390cbd1-e663-4321-bc93-ba298637ce52</vt:lpwstr>
  </property>
  <property fmtid="{D5CDD505-2E9C-101B-9397-08002B2CF9AE}" pid="15" name="MSIP_Label_06263584-a2fa-494a-b6ac-a3eeadb86bd0_SetBy">
    <vt:lpwstr>107200@sidel.com</vt:lpwstr>
  </property>
  <property fmtid="{D5CDD505-2E9C-101B-9397-08002B2CF9AE}" pid="16" name="MSIP_Label_06263584-a2fa-494a-b6ac-a3eeadb86bd0_SetDate">
    <vt:lpwstr>2017-09-26T14:43:53.5499116+02:00</vt:lpwstr>
  </property>
  <property fmtid="{D5CDD505-2E9C-101B-9397-08002B2CF9AE}" pid="17" name="MSIP_Label_06263584-a2fa-494a-b6ac-a3eeadb86bd0_Name">
    <vt:lpwstr>Internal</vt:lpwstr>
  </property>
  <property fmtid="{D5CDD505-2E9C-101B-9397-08002B2CF9AE}" pid="18" name="MSIP_Label_06263584-a2fa-494a-b6ac-a3eeadb86bd0_Application">
    <vt:lpwstr>Microsoft Azure Information Protection</vt:lpwstr>
  </property>
  <property fmtid="{D5CDD505-2E9C-101B-9397-08002B2CF9AE}" pid="19" name="MSIP_Label_06263584-a2fa-494a-b6ac-a3eeadb86bd0_Extended_MSFT_Method">
    <vt:lpwstr>Automatic</vt:lpwstr>
  </property>
  <property fmtid="{D5CDD505-2E9C-101B-9397-08002B2CF9AE}" pid="20" name="MSIP_Label_06263584-a2fa-494a-b6ac-a3eeadb86bd0_Parent">
    <vt:lpwstr>e35bb0a3-90cf-41a8-939e-500b35438edf</vt:lpwstr>
  </property>
  <property fmtid="{D5CDD505-2E9C-101B-9397-08002B2CF9AE}" pid="21" name="Sensitivity">
    <vt:lpwstr>Sidel-Confidential Internal</vt:lpwstr>
  </property>
</Properties>
</file>